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709" r:id="rId1"/>
  </p:sldMasterIdLst>
  <p:notesMasterIdLst>
    <p:notesMasterId r:id="rId11"/>
  </p:notesMasterIdLst>
  <p:handoutMasterIdLst>
    <p:handoutMasterId r:id="rId12"/>
  </p:handoutMasterIdLst>
  <p:sldIdLst>
    <p:sldId id="544" r:id="rId2"/>
    <p:sldId id="543" r:id="rId3"/>
    <p:sldId id="557" r:id="rId4"/>
    <p:sldId id="563" r:id="rId5"/>
    <p:sldId id="567" r:id="rId6"/>
    <p:sldId id="564" r:id="rId7"/>
    <p:sldId id="565" r:id="rId8"/>
    <p:sldId id="560" r:id="rId9"/>
    <p:sldId id="545" r:id="rId10"/>
  </p:sldIdLst>
  <p:sldSz cx="11522075" cy="6480175"/>
  <p:notesSz cx="6858000" cy="9144000"/>
  <p:custDataLst>
    <p:tags r:id="rId13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204">
          <p15:clr>
            <a:srgbClr val="A4A3A4"/>
          </p15:clr>
        </p15:guide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1" orient="horz" pos="703" userDrawn="1">
          <p15:clr>
            <a:srgbClr val="A4A3A4"/>
          </p15:clr>
        </p15:guide>
        <p15:guide id="12" orient="horz" pos="3493" userDrawn="1">
          <p15:clr>
            <a:srgbClr val="A4A3A4"/>
          </p15:clr>
        </p15:guide>
        <p15:guide id="13" orient="horz" pos="3719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5" pos="1939" userDrawn="1">
          <p15:clr>
            <a:srgbClr val="A4A3A4"/>
          </p15:clr>
        </p15:guide>
        <p15:guide id="16" pos="1847" userDrawn="1">
          <p15:clr>
            <a:srgbClr val="A4A3A4"/>
          </p15:clr>
        </p15:guide>
        <p15:guide id="17" pos="204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19" pos="5411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74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Auto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1DCF1"/>
    <a:srgbClr val="D80074"/>
    <a:srgbClr val="FECB00"/>
    <a:srgbClr val="DDDEAC"/>
    <a:srgbClr val="D90000"/>
    <a:srgbClr val="6BB324"/>
    <a:srgbClr val="E20074"/>
    <a:srgbClr val="E20000"/>
    <a:srgbClr val="992C99"/>
    <a:srgbClr val="4B4B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892" autoAdjust="0"/>
    <p:restoredTop sz="96187" autoAdjust="0"/>
  </p:normalViewPr>
  <p:slideViewPr>
    <p:cSldViewPr snapToGrid="0" snapToObjects="1">
      <p:cViewPr varScale="1">
        <p:scale>
          <a:sx n="91" d="100"/>
          <a:sy n="91" d="100"/>
        </p:scale>
        <p:origin x="624" y="90"/>
      </p:cViewPr>
      <p:guideLst>
        <p:guide orient="horz" pos="204"/>
        <p:guide orient="horz" pos="2041"/>
        <p:guide orient="horz" pos="930"/>
        <p:guide orient="horz" pos="3266"/>
        <p:guide orient="horz" pos="703"/>
        <p:guide orient="horz" pos="3493"/>
        <p:guide orient="horz" pos="3719"/>
        <p:guide orient="horz" pos="3878"/>
        <p:guide pos="1939"/>
        <p:guide pos="1847"/>
        <p:guide pos="204"/>
        <p:guide pos="7054"/>
        <p:guide pos="5411"/>
        <p:guide pos="5318"/>
        <p:guide pos="3674"/>
        <p:guide pos="3584"/>
        <p:guide pos="3629"/>
      </p:guideLst>
    </p:cSldViewPr>
  </p:slideViewPr>
  <p:outlineViewPr>
    <p:cViewPr>
      <p:scale>
        <a:sx n="33" d="100"/>
        <a:sy n="33" d="100"/>
      </p:scale>
      <p:origin x="0" y="-44973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83" d="100"/>
          <a:sy n="83" d="100"/>
        </p:scale>
        <p:origin x="2010" y="90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nº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8800" y="371599"/>
            <a:ext cx="5900400" cy="3318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Textmasterformate durch Klicken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6231" y="1350000"/>
            <a:ext cx="10872000" cy="2192831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(Ultra)</a:t>
            </a:r>
            <a:br>
              <a:rPr lang="en-US" dirty="0"/>
            </a:br>
            <a:r>
              <a:rPr lang="en-US" sz="4800" dirty="0">
                <a:latin typeface="TeleGrotesk Headline" pitchFamily="2" charset="0"/>
              </a:rPr>
              <a:t>Maximum of 3 lines</a:t>
            </a:r>
            <a:br>
              <a:rPr lang="en-US" sz="4800" dirty="0">
                <a:latin typeface="TeleGrotesk Headline" pitchFamily="2" charset="0"/>
              </a:rPr>
            </a:br>
            <a:r>
              <a:rPr lang="en-US" sz="4800" dirty="0">
                <a:latin typeface="TeleGrotesk Headline" pitchFamily="2" charset="0"/>
              </a:rPr>
              <a:t>40 (48) 66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6229" y="3861246"/>
            <a:ext cx="10872000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dirty="0"/>
              <a:t>Sub-heading: </a:t>
            </a:r>
            <a:r>
              <a:rPr lang="en-US" dirty="0" err="1"/>
              <a:t>TeleGrotesk</a:t>
            </a:r>
            <a:r>
              <a:rPr lang="en-US" dirty="0"/>
              <a:t> Normal, 24 pt</a:t>
            </a:r>
          </a:p>
        </p:txBody>
      </p:sp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2"/>
          <a:srcRect r="60924"/>
          <a:stretch>
            <a:fillRect/>
          </a:stretch>
        </p:blipFill>
        <p:spPr bwMode="black">
          <a:xfrm>
            <a:off x="324000" y="5655600"/>
            <a:ext cx="1309728" cy="500400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2"/>
          <a:srcRect l="41258"/>
          <a:stretch>
            <a:fillRect/>
          </a:stretch>
        </p:blipFill>
        <p:spPr bwMode="black">
          <a:xfrm>
            <a:off x="9229344" y="5655600"/>
            <a:ext cx="1968882" cy="5004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textur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120"/>
            <a:ext cx="11522072" cy="6478766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d.mm.yyyy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80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textur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1" y="120"/>
            <a:ext cx="11522069" cy="6478765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d.mm.yyyy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tex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11524578" cy="6480175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3413801"/>
            <a:ext cx="10872000" cy="2131337"/>
          </a:xfrm>
        </p:spPr>
        <p:txBody>
          <a:bodyPr anchor="b" anchorCtr="0"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d.mm.yyyy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48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d.mm.yyyy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68763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d.mm.yyyy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832625" y="1476374"/>
            <a:ext cx="5365600" cy="4068763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d.mm.yyyy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d.mm.yyyy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d.mm.yyyy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76374"/>
            <a:ext cx="10872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d.mm.yyyy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475" y="1476374"/>
            <a:ext cx="5364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d.mm.yyyy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eaLnBrk="1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eaLnBrk="1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4800"/>
              <a:t>TELEGROTESK Headline (ULTRA)</a:t>
            </a:r>
            <a:br>
              <a:rPr lang="en-US" sz="4800"/>
            </a:br>
            <a:r>
              <a:rPr lang="en-US" sz="4800">
                <a:latin typeface="TeleGrotesk Headline" pitchFamily="2" charset="0"/>
              </a:rPr>
              <a:t>Maximum of 3 lines</a:t>
            </a:r>
            <a:br>
              <a:rPr lang="en-US" sz="4800">
                <a:latin typeface="TeleGrotesk Headline" pitchFamily="2" charset="0"/>
              </a:rPr>
            </a:br>
            <a:r>
              <a:rPr lang="en-US" sz="4800">
                <a:latin typeface="TeleGrotesk Headline" pitchFamily="2" charset="0"/>
              </a:rPr>
              <a:t>40 (48) 60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2"/>
          <a:srcRect r="60924"/>
          <a:stretch>
            <a:fillRect/>
          </a:stretch>
        </p:blipFill>
        <p:spPr>
          <a:xfrm>
            <a:off x="324000" y="5655600"/>
            <a:ext cx="1309728" cy="500400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2"/>
          <a:srcRect l="43441"/>
          <a:stretch>
            <a:fillRect/>
          </a:stretch>
        </p:blipFill>
        <p:spPr>
          <a:xfrm>
            <a:off x="9302496" y="5655600"/>
            <a:ext cx="1895731" cy="5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3528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7668475" y="1476374"/>
            <a:ext cx="3528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996237" y="1476375"/>
            <a:ext cx="3528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d.mm.yyyy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316" y="1476374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078158" y="1476375"/>
            <a:ext cx="2610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475" y="1476374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dd.mm.yyyy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 eaLnBrk="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49" y="1476374"/>
            <a:ext cx="5364787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s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0" y="1476374"/>
            <a:ext cx="5364787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d.mm.yyyy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 eaLnBrk="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3528000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s/lead-i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996162" y="1476374"/>
            <a:ext cx="3528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7668475" y="1476374"/>
            <a:ext cx="3528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/>
              <a:t>Quotations/lead-in</a:t>
            </a:r>
            <a:endParaRPr lang="en-US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d.mm.yyyy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 eaLnBrk="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2610000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s/lead-i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078014" y="1476374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1" y="1476374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638" y="1476374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baseline="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dd.mm.yyyy</a:t>
            </a: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30080" y="4562521"/>
            <a:ext cx="10872956" cy="1236246"/>
            <a:chOff x="207" y="1858"/>
            <a:chExt cx="5365" cy="2020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207" y="2527"/>
              <a:ext cx="5365" cy="135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eaLnBrk="1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207" y="1858"/>
              <a:ext cx="5157" cy="2020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eaLnBrk="1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10" y="2017"/>
              <a:ext cx="4873" cy="1861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71" eaLnBrk="1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52" y="4536000"/>
            <a:ext cx="9886689" cy="384080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sp>
        <p:nvSpPr>
          <p:cNvPr id="4" name="CaixaDeTexto 3"/>
          <p:cNvSpPr txBox="1"/>
          <p:nvPr userDrawn="1"/>
        </p:nvSpPr>
        <p:spPr bwMode="gray">
          <a:xfrm>
            <a:off x="7679665" y="5798767"/>
            <a:ext cx="3517291" cy="28814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Transform. Simplify. Innovate. </a:t>
            </a:r>
            <a:r>
              <a:rPr lang="en-US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Your business matters!</a:t>
            </a:r>
            <a:endParaRPr lang="pt-BR" sz="1400" kern="1200" dirty="0">
              <a:solidFill>
                <a:schemeClr val="bg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2" cstate="print"/>
          <a:srcRect r="11" b="-468"/>
          <a:stretch>
            <a:fillRect/>
          </a:stretch>
        </p:blipFill>
        <p:spPr bwMode="gray">
          <a:xfrm>
            <a:off x="323850" y="2897408"/>
            <a:ext cx="10872000" cy="45878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23850" y="3203795"/>
            <a:ext cx="10872000" cy="1980980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50" y="4536000"/>
            <a:ext cx="10869614" cy="384080"/>
          </a:xfrm>
        </p:spPr>
        <p:txBody>
          <a:bodyPr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3"/>
          <a:srcRect r="60924"/>
          <a:stretch>
            <a:fillRect/>
          </a:stretch>
        </p:blipFill>
        <p:spPr>
          <a:xfrm>
            <a:off x="324000" y="5655600"/>
            <a:ext cx="1309728" cy="500400"/>
          </a:xfrm>
          <a:prstGeom prst="rect">
            <a:avLst/>
          </a:prstGeom>
        </p:spPr>
      </p:pic>
      <p:pic>
        <p:nvPicPr>
          <p:cNvPr id="34" name="Grafik 33" descr="T_Logo_3c_Slogan_p_INT.emf"/>
          <p:cNvPicPr>
            <a:picLocks noChangeAspect="1"/>
          </p:cNvPicPr>
          <p:nvPr userDrawn="1"/>
        </p:nvPicPr>
        <p:blipFill>
          <a:blip r:embed="rId3"/>
          <a:srcRect l="43441"/>
          <a:stretch>
            <a:fillRect/>
          </a:stretch>
        </p:blipFill>
        <p:spPr>
          <a:xfrm>
            <a:off x="9302496" y="5655600"/>
            <a:ext cx="1895731" cy="5004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(Ultra)</a:t>
            </a:r>
            <a:br>
              <a:rPr lang="en-US" dirty="0"/>
            </a:b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d.mm.yyyy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tex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-1" y="703"/>
            <a:ext cx="11522075" cy="6478767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d.mm.yyyy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tex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-1" y="0"/>
            <a:ext cx="11522075" cy="6480175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d.mm.yyyy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255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tex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1" y="120"/>
            <a:ext cx="11522069" cy="6478764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d.mm.yyyy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tex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120"/>
            <a:ext cx="11522072" cy="6478767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d.mm.yyyy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– Strictly confidential, Confidential, Internal –     Author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7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9032655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27" imgW="360" imgH="360" progId="TCLayout.ActiveDocument.1">
                  <p:embed/>
                </p:oleObj>
              </mc:Choice>
              <mc:Fallback>
                <p:oleObj name="Slide do think-cell" r:id="rId27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252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31" name="Grafik 30" descr="T_Logo_3c_Slogan_p_INT.emf"/>
          <p:cNvPicPr>
            <a:picLocks noChangeAspect="1"/>
          </p:cNvPicPr>
          <p:nvPr userDrawn="1"/>
        </p:nvPicPr>
        <p:blipFill rotWithShape="1">
          <a:blip r:embed="rId29"/>
          <a:srcRect r="66448" b="-19434"/>
          <a:stretch/>
        </p:blipFill>
        <p:spPr>
          <a:xfrm>
            <a:off x="324000" y="5911199"/>
            <a:ext cx="809061" cy="429965"/>
          </a:xfrm>
          <a:prstGeom prst="rect">
            <a:avLst/>
          </a:prstGeom>
        </p:spPr>
      </p:pic>
      <p:sp>
        <p:nvSpPr>
          <p:cNvPr id="18" name="Datumsplatzhalter 17"/>
          <p:cNvSpPr>
            <a:spLocks noGrp="1"/>
          </p:cNvSpPr>
          <p:nvPr>
            <p:ph type="dt" sz="half" idx="2"/>
          </p:nvPr>
        </p:nvSpPr>
        <p:spPr>
          <a:xfrm>
            <a:off x="9906329" y="5961600"/>
            <a:ext cx="828000" cy="273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15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dd.mm.yyyy</a:t>
            </a:r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3"/>
          </p:nvPr>
        </p:nvSpPr>
        <p:spPr>
          <a:xfrm>
            <a:off x="4661144" y="5961600"/>
            <a:ext cx="5148000" cy="273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15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r>
              <a:rPr lang="en-US" dirty="0"/>
              <a:t>– Strictly confidential, Confidential, Internal –     Author/Presentation Topic</a:t>
            </a:r>
          </a:p>
        </p:txBody>
      </p:sp>
      <p:sp>
        <p:nvSpPr>
          <p:cNvPr id="20" name="Foliennummernplatzhalter 19"/>
          <p:cNvSpPr>
            <a:spLocks noGrp="1"/>
          </p:cNvSpPr>
          <p:nvPr>
            <p:ph type="sldNum" sz="quarter" idx="4"/>
          </p:nvPr>
        </p:nvSpPr>
        <p:spPr>
          <a:xfrm>
            <a:off x="10836000" y="5961600"/>
            <a:ext cx="360000" cy="273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15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35B82B61-49DC-4937-83D9-6C97F6C89D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9" name="CaixaDeTexto 8"/>
          <p:cNvSpPr txBox="1"/>
          <p:nvPr userDrawn="1"/>
        </p:nvSpPr>
        <p:spPr bwMode="gray">
          <a:xfrm>
            <a:off x="1083078" y="6068348"/>
            <a:ext cx="4135281" cy="25736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dirty="0">
                <a:solidFill>
                  <a:srgbClr val="D80074"/>
                </a:solidFill>
                <a:effectLst/>
                <a:latin typeface="+mj-lt"/>
                <a:ea typeface="+mn-ea"/>
                <a:cs typeface="+mn-cs"/>
              </a:rPr>
              <a:t>Transform. Simplify. Innovate. </a:t>
            </a:r>
            <a:r>
              <a:rPr lang="en-US" sz="1200" kern="1200" dirty="0">
                <a:solidFill>
                  <a:srgbClr val="D80074"/>
                </a:solidFill>
                <a:effectLst/>
                <a:latin typeface="+mj-lt"/>
                <a:ea typeface="+mn-ea"/>
                <a:cs typeface="+mn-cs"/>
              </a:rPr>
              <a:t>Your business matters!</a:t>
            </a:r>
            <a:endParaRPr lang="pt-BR" sz="1200" kern="1200" dirty="0">
              <a:solidFill>
                <a:srgbClr val="D80074"/>
              </a:solidFill>
              <a:effectLst/>
              <a:latin typeface="+mj-lt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711" r:id="rId4"/>
    <p:sldLayoutId id="2147483725" r:id="rId5"/>
    <p:sldLayoutId id="2147483928" r:id="rId6"/>
    <p:sldLayoutId id="2147483926" r:id="rId7"/>
    <p:sldLayoutId id="2147483976" r:id="rId8"/>
    <p:sldLayoutId id="2147483964" r:id="rId9"/>
    <p:sldLayoutId id="2147483965" r:id="rId10"/>
    <p:sldLayoutId id="2147483967" r:id="rId11"/>
    <p:sldLayoutId id="2147483968" r:id="rId12"/>
    <p:sldLayoutId id="2147483972" r:id="rId13"/>
    <p:sldLayoutId id="2147483971" r:id="rId14"/>
    <p:sldLayoutId id="2147483973" r:id="rId15"/>
    <p:sldLayoutId id="2147483716" r:id="rId16"/>
    <p:sldLayoutId id="2147483718" r:id="rId17"/>
    <p:sldLayoutId id="2147483722" r:id="rId18"/>
    <p:sldLayoutId id="2147483723" r:id="rId19"/>
    <p:sldLayoutId id="2147483969" r:id="rId20"/>
    <p:sldLayoutId id="2147483970" r:id="rId21"/>
    <p:sldLayoutId id="2147483930" r:id="rId22"/>
    <p:sldLayoutId id="2147483959" r:id="rId23"/>
    <p:sldLayoutId id="2147483960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2" pos="3629">
          <p15:clr>
            <a:srgbClr val="F26B43"/>
          </p15:clr>
        </p15:guide>
        <p15:guide id="3" orient="horz" pos="930">
          <p15:clr>
            <a:srgbClr val="F26B43"/>
          </p15:clr>
        </p15:guide>
        <p15:guide id="4" orient="horz" pos="3493">
          <p15:clr>
            <a:srgbClr val="F26B43"/>
          </p15:clr>
        </p15:guide>
        <p15:guide id="5" orient="horz" pos="3878">
          <p15:clr>
            <a:srgbClr val="F26B43"/>
          </p15:clr>
        </p15:guide>
        <p15:guide id="6" pos="204">
          <p15:clr>
            <a:srgbClr val="F26B43"/>
          </p15:clr>
        </p15:guide>
        <p15:guide id="7" pos="7054">
          <p15:clr>
            <a:srgbClr val="F26B43"/>
          </p15:clr>
        </p15:guide>
        <p15:guide id="8" orient="horz" pos="3719">
          <p15:clr>
            <a:srgbClr val="F26B43"/>
          </p15:clr>
        </p15:guide>
        <p15:guide id="9" orient="horz" pos="3266">
          <p15:clr>
            <a:srgbClr val="F26B43"/>
          </p15:clr>
        </p15:guide>
        <p15:guide id="10" orient="horz" pos="703">
          <p15:clr>
            <a:srgbClr val="F26B43"/>
          </p15:clr>
        </p15:guide>
        <p15:guide id="11" orient="horz" pos="204">
          <p15:clr>
            <a:srgbClr val="F26B43"/>
          </p15:clr>
        </p15:guide>
        <p15:guide id="12" pos="1848">
          <p15:clr>
            <a:srgbClr val="F26B43"/>
          </p15:clr>
        </p15:guide>
        <p15:guide id="13" pos="1939">
          <p15:clr>
            <a:srgbClr val="F26B43"/>
          </p15:clr>
        </p15:guide>
        <p15:guide id="14" pos="3674">
          <p15:clr>
            <a:srgbClr val="F26B43"/>
          </p15:clr>
        </p15:guide>
        <p15:guide id="15" pos="3584">
          <p15:clr>
            <a:srgbClr val="F26B43"/>
          </p15:clr>
        </p15:guide>
        <p15:guide id="16" pos="5410">
          <p15:clr>
            <a:srgbClr val="F26B43"/>
          </p15:clr>
        </p15:guide>
        <p15:guide id="17" pos="531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pypi.python.org/" TargetMode="External"/><Relationship Id="rId2" Type="http://schemas.openxmlformats.org/officeDocument/2006/relationships/hyperlink" Target="https://docs.python.org/3/library" TargetMode="Externa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7.xml"/><Relationship Id="rId4" Type="http://schemas.openxmlformats.org/officeDocument/2006/relationships/image" Target="../media/image15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18" Type="http://schemas.openxmlformats.org/officeDocument/2006/relationships/image" Target="../media/image31.png"/><Relationship Id="rId3" Type="http://schemas.openxmlformats.org/officeDocument/2006/relationships/oleObject" Target="../embeddings/oleObject4.bin"/><Relationship Id="rId21" Type="http://schemas.openxmlformats.org/officeDocument/2006/relationships/image" Target="../media/image34.pn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17" Type="http://schemas.openxmlformats.org/officeDocument/2006/relationships/image" Target="../media/image30.png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29.png"/><Relationship Id="rId20" Type="http://schemas.openxmlformats.org/officeDocument/2006/relationships/image" Target="../media/image33.png"/><Relationship Id="rId1" Type="http://schemas.openxmlformats.org/officeDocument/2006/relationships/tags" Target="../tags/tag8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23" Type="http://schemas.openxmlformats.org/officeDocument/2006/relationships/image" Target="../media/image36.png"/><Relationship Id="rId10" Type="http://schemas.openxmlformats.org/officeDocument/2006/relationships/image" Target="../media/image23.png"/><Relationship Id="rId19" Type="http://schemas.openxmlformats.org/officeDocument/2006/relationships/image" Target="../media/image32.png"/><Relationship Id="rId4" Type="http://schemas.openxmlformats.org/officeDocument/2006/relationships/image" Target="../media/image15.emf"/><Relationship Id="rId9" Type="http://schemas.openxmlformats.org/officeDocument/2006/relationships/image" Target="../media/image22.png"/><Relationship Id="rId14" Type="http://schemas.openxmlformats.org/officeDocument/2006/relationships/image" Target="../media/image27.png"/><Relationship Id="rId22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9725" y="1385114"/>
            <a:ext cx="5758798" cy="1379208"/>
          </a:xfrm>
          <a:prstGeom prst="rect">
            <a:avLst/>
          </a:prstGeom>
        </p:spPr>
      </p:pic>
      <p:sp>
        <p:nvSpPr>
          <p:cNvPr id="6" name="Subtítulo 5"/>
          <p:cNvSpPr>
            <a:spLocks noGrp="1"/>
          </p:cNvSpPr>
          <p:nvPr>
            <p:ph type="subTitle" idx="1"/>
          </p:nvPr>
        </p:nvSpPr>
        <p:spPr>
          <a:xfrm>
            <a:off x="323852" y="4712843"/>
            <a:ext cx="9886689" cy="353687"/>
          </a:xfrm>
        </p:spPr>
        <p:txBody>
          <a:bodyPr/>
          <a:lstStyle/>
          <a:p>
            <a:r>
              <a:rPr lang="pt-BR" dirty="0"/>
              <a:t>Introdução à linguagem Python</a:t>
            </a: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1961" y="324410"/>
            <a:ext cx="3381847" cy="3982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997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ntrodução</a:t>
            </a:r>
          </a:p>
        </p:txBody>
      </p:sp>
      <p:sp>
        <p:nvSpPr>
          <p:cNvPr id="12" name="Inhaltsplatzhalter 6"/>
          <p:cNvSpPr txBox="1">
            <a:spLocks/>
          </p:cNvSpPr>
          <p:nvPr/>
        </p:nvSpPr>
        <p:spPr bwMode="gray">
          <a:xfrm>
            <a:off x="324000" y="3227895"/>
            <a:ext cx="5265140" cy="309294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Criada por Guido van </a:t>
            </a:r>
            <a:r>
              <a:rPr lang="pt-BR" sz="2000" dirty="0" err="1"/>
              <a:t>Rossum</a:t>
            </a:r>
            <a:r>
              <a:rPr lang="pt-BR" sz="2000" dirty="0"/>
              <a:t> em 1989;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Atualmente gerenciado pela Python Software Foundation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Licença de código aberto, compatível com GPL;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Interpretada - Ambiente Interativo;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Linguagem de altíssimo Nível (VHLL) ;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 err="1"/>
              <a:t>Multiplataforma</a:t>
            </a:r>
            <a:r>
              <a:rPr lang="pt-BR" sz="2000" dirty="0"/>
              <a:t> – Windows, Linux/Unix, MAC OS X</a:t>
            </a:r>
            <a:endParaRPr lang="pt-BR" sz="1400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837" y="944943"/>
            <a:ext cx="10058400" cy="2094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414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or que utilizar python?</a:t>
            </a:r>
          </a:p>
        </p:txBody>
      </p:sp>
      <p:sp>
        <p:nvSpPr>
          <p:cNvPr id="12" name="Inhaltsplatzhalter 6"/>
          <p:cNvSpPr txBox="1">
            <a:spLocks/>
          </p:cNvSpPr>
          <p:nvPr/>
        </p:nvSpPr>
        <p:spPr bwMode="gray">
          <a:xfrm>
            <a:off x="324001" y="901482"/>
            <a:ext cx="10871999" cy="35077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b="1" dirty="0"/>
              <a:t>Qualidade de Software</a:t>
            </a:r>
          </a:p>
          <a:p>
            <a:pPr lvl="3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O código do Python foi projetado para ser legível, reutilizável e fácil manutenção.</a:t>
            </a:r>
          </a:p>
          <a:p>
            <a:pPr lvl="3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Suporte para mecanismos de reutilização software, como Programação Orientada à Objetos (OOP).</a:t>
            </a:r>
          </a:p>
          <a:p>
            <a:pPr lvl="3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Fácil aprendizado.</a:t>
            </a:r>
          </a:p>
          <a:p>
            <a:pPr lvl="3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endParaRPr lang="pt-BR" sz="2000" dirty="0"/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b="1" dirty="0"/>
              <a:t>Produtividade no desenvolvimento </a:t>
            </a:r>
          </a:p>
          <a:p>
            <a:pPr lvl="3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Python aumenta a produtividade do desenvolvedor. </a:t>
            </a:r>
          </a:p>
          <a:p>
            <a:pPr lvl="3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Pouca quantidade de linhas código , se comparado com C++ e Java.</a:t>
            </a:r>
          </a:p>
          <a:p>
            <a:pPr lvl="3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Redução na quantidade de linhas a serem analisadas para encontrar </a:t>
            </a:r>
            <a:r>
              <a:rPr lang="pt-BR" sz="2000"/>
              <a:t>um erro </a:t>
            </a:r>
            <a:r>
              <a:rPr lang="pt-BR" sz="2000" dirty="0"/>
              <a:t>ou dar manutenção no código.</a:t>
            </a:r>
          </a:p>
        </p:txBody>
      </p:sp>
    </p:spTree>
    <p:extLst>
      <p:ext uri="{BB962C8B-B14F-4D97-AF65-F5344CB8AC3E}">
        <p14:creationId xmlns:p14="http://schemas.microsoft.com/office/powerpoint/2010/main" val="2547317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or que utilizar python?</a:t>
            </a:r>
          </a:p>
        </p:txBody>
      </p:sp>
      <p:sp>
        <p:nvSpPr>
          <p:cNvPr id="12" name="Inhaltsplatzhalter 6"/>
          <p:cNvSpPr txBox="1">
            <a:spLocks/>
          </p:cNvSpPr>
          <p:nvPr/>
        </p:nvSpPr>
        <p:spPr bwMode="gray">
          <a:xfrm>
            <a:off x="324001" y="1115596"/>
            <a:ext cx="10871999" cy="444272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b="1" dirty="0"/>
              <a:t>Baterias incluídas</a:t>
            </a:r>
          </a:p>
          <a:p>
            <a:pPr lvl="3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Python vem com uma grande uma grande coleção de funcionalidades (standard </a:t>
            </a:r>
            <a:r>
              <a:rPr lang="pt-BR" sz="2000" dirty="0" err="1"/>
              <a:t>standard</a:t>
            </a:r>
            <a:r>
              <a:rPr lang="pt-BR" sz="2000" dirty="0"/>
              <a:t> </a:t>
            </a:r>
            <a:r>
              <a:rPr lang="pt-BR" sz="2000" dirty="0" err="1"/>
              <a:t>library</a:t>
            </a:r>
            <a:r>
              <a:rPr lang="pt-BR" sz="2000" dirty="0"/>
              <a:t> </a:t>
            </a:r>
            <a:r>
              <a:rPr lang="pt-BR" sz="2000" dirty="0" err="1"/>
              <a:t>library</a:t>
            </a:r>
            <a:r>
              <a:rPr lang="pt-BR" sz="2000" dirty="0"/>
              <a:t> )</a:t>
            </a:r>
          </a:p>
          <a:p>
            <a:pPr lvl="4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>
                <a:hlinkClick r:id="rId2"/>
              </a:rPr>
              <a:t>https://docs.python.org/3/library</a:t>
            </a:r>
            <a:endParaRPr lang="pt-BR" sz="2000" dirty="0"/>
          </a:p>
          <a:p>
            <a:pPr lvl="3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Python pode ser estendido com bibliotecas de terceiros </a:t>
            </a:r>
          </a:p>
          <a:p>
            <a:pPr lvl="4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Mais de 60.000 no Python </a:t>
            </a:r>
            <a:r>
              <a:rPr lang="pt-BR" sz="2000" dirty="0" err="1"/>
              <a:t>Package</a:t>
            </a:r>
            <a:r>
              <a:rPr lang="pt-BR" sz="2000" dirty="0"/>
              <a:t> Index</a:t>
            </a:r>
          </a:p>
          <a:p>
            <a:pPr lvl="4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>
                <a:hlinkClick r:id="rId3"/>
              </a:rPr>
              <a:t>https://pypi.python.org/</a:t>
            </a:r>
            <a:endParaRPr lang="pt-BR" sz="2000" dirty="0"/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Tipos são associados a objetos, não a variáveis;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Python normalmente opera em um nível muito mais alto de abstração;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As regras de sintaxe são simples;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Linguagem </a:t>
            </a:r>
            <a:r>
              <a:rPr lang="pt-BR" sz="2000" dirty="0" err="1"/>
              <a:t>tipada</a:t>
            </a:r>
            <a:r>
              <a:rPr lang="pt-BR" sz="2000" dirty="0"/>
              <a:t> dinamicamente, tornando o Python flexível;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endParaRPr lang="pt-BR" sz="2000" dirty="0"/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endParaRPr lang="pt-BR" sz="2000" dirty="0"/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endParaRPr lang="pt-BR" sz="2000" dirty="0"/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endParaRPr lang="pt-BR" sz="2000" dirty="0"/>
          </a:p>
        </p:txBody>
      </p:sp>
    </p:spTree>
    <p:extLst>
      <p:ext uri="{BB962C8B-B14F-4D97-AF65-F5344CB8AC3E}">
        <p14:creationId xmlns:p14="http://schemas.microsoft.com/office/powerpoint/2010/main" val="2537723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or que utilizar python?</a:t>
            </a:r>
          </a:p>
        </p:txBody>
      </p:sp>
      <p:sp>
        <p:nvSpPr>
          <p:cNvPr id="12" name="Inhaltsplatzhalter 6"/>
          <p:cNvSpPr txBox="1">
            <a:spLocks/>
          </p:cNvSpPr>
          <p:nvPr/>
        </p:nvSpPr>
        <p:spPr bwMode="gray">
          <a:xfrm>
            <a:off x="324001" y="1115596"/>
            <a:ext cx="10871999" cy="444272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b="1" dirty="0"/>
              <a:t>Integração de componentes</a:t>
            </a:r>
          </a:p>
          <a:p>
            <a:pPr lvl="3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Python permite comunicar com outras partes de uma aplicação, utilizando uma variedade de mecanismos de integração.</a:t>
            </a:r>
          </a:p>
          <a:p>
            <a:pPr lvl="4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 err="1"/>
              <a:t>Cython</a:t>
            </a:r>
            <a:r>
              <a:rPr lang="pt-BR" sz="2000" dirty="0"/>
              <a:t> - C/C++</a:t>
            </a:r>
          </a:p>
          <a:p>
            <a:pPr lvl="4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 err="1"/>
              <a:t>Jython</a:t>
            </a:r>
            <a:r>
              <a:rPr lang="pt-BR" sz="2000" dirty="0"/>
              <a:t> - Java</a:t>
            </a:r>
          </a:p>
          <a:p>
            <a:pPr lvl="4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 err="1"/>
              <a:t>IronPython</a:t>
            </a:r>
            <a:r>
              <a:rPr lang="pt-BR" sz="2000" dirty="0"/>
              <a:t> - </a:t>
            </a:r>
            <a:r>
              <a:rPr lang="pt-BR" sz="2000" dirty="0" err="1"/>
              <a:t>.Net</a:t>
            </a:r>
            <a:endParaRPr lang="pt-BR" sz="2000" dirty="0"/>
          </a:p>
          <a:p>
            <a:pPr lvl="4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 err="1"/>
              <a:t>PyPy</a:t>
            </a:r>
            <a:r>
              <a:rPr lang="pt-BR" sz="2000" dirty="0"/>
              <a:t> - Python</a:t>
            </a:r>
          </a:p>
          <a:p>
            <a:pPr lvl="4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/>
              <a:t>Python for Delphi - Delphi</a:t>
            </a:r>
          </a:p>
          <a:p>
            <a:pPr lvl="4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r>
              <a:rPr lang="pt-BR" sz="2000" dirty="0" err="1"/>
              <a:t>LunaticPython</a:t>
            </a:r>
            <a:r>
              <a:rPr lang="pt-BR" sz="2000" dirty="0"/>
              <a:t> - Lua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endParaRPr lang="pt-BR" sz="2000" dirty="0"/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endParaRPr lang="pt-BR" sz="2000" dirty="0"/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endParaRPr lang="pt-BR" sz="2000" dirty="0"/>
          </a:p>
          <a:p>
            <a:pPr lvl="2">
              <a:lnSpc>
                <a:spcPct val="100000"/>
              </a:lnSpc>
              <a:spcBef>
                <a:spcPts val="600"/>
              </a:spcBef>
              <a:buClr>
                <a:srgbClr val="D80074"/>
              </a:buClr>
            </a:pPr>
            <a:endParaRPr lang="pt-BR" sz="2000" dirty="0"/>
          </a:p>
        </p:txBody>
      </p:sp>
    </p:spTree>
    <p:extLst>
      <p:ext uri="{BB962C8B-B14F-4D97-AF65-F5344CB8AC3E}">
        <p14:creationId xmlns:p14="http://schemas.microsoft.com/office/powerpoint/2010/main" val="2527317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90592" name="Objeto 139059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1390592" name="Objeto 139059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Título 3"/>
          <p:cNvSpPr>
            <a:spLocks noGrp="1"/>
          </p:cNvSpPr>
          <p:nvPr>
            <p:ph type="title"/>
          </p:nvPr>
        </p:nvSpPr>
        <p:spPr>
          <a:xfrm>
            <a:off x="324000" y="252000"/>
            <a:ext cx="4499072" cy="504000"/>
          </a:xfrm>
        </p:spPr>
        <p:txBody>
          <a:bodyPr/>
          <a:lstStyle/>
          <a:p>
            <a:r>
              <a:rPr lang="pt-BR" dirty="0"/>
              <a:t>Crescimento do uso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60612" y="1021524"/>
            <a:ext cx="6800850" cy="4095750"/>
          </a:xfrm>
          <a:prstGeom prst="rect">
            <a:avLst/>
          </a:prstGeom>
        </p:spPr>
      </p:pic>
      <p:sp>
        <p:nvSpPr>
          <p:cNvPr id="5" name="Retângulo de cantos arredondados 4"/>
          <p:cNvSpPr/>
          <p:nvPr/>
        </p:nvSpPr>
        <p:spPr bwMode="gray">
          <a:xfrm>
            <a:off x="2573536" y="3879265"/>
            <a:ext cx="6493268" cy="216135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pt-BR" sz="1800" dirty="0" err="1">
              <a:cs typeface="Arial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2535" y="5289142"/>
            <a:ext cx="3082247" cy="604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612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90592" name="Objeto 139059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1390592" name="Objeto 139059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Título 3"/>
          <p:cNvSpPr>
            <a:spLocks noGrp="1"/>
          </p:cNvSpPr>
          <p:nvPr>
            <p:ph type="title"/>
          </p:nvPr>
        </p:nvSpPr>
        <p:spPr>
          <a:xfrm>
            <a:off x="324000" y="252000"/>
            <a:ext cx="4499072" cy="504000"/>
          </a:xfrm>
        </p:spPr>
        <p:txBody>
          <a:bodyPr/>
          <a:lstStyle/>
          <a:p>
            <a:r>
              <a:rPr lang="pt-BR" dirty="0"/>
              <a:t>aplicações</a:t>
            </a:r>
          </a:p>
        </p:txBody>
      </p:sp>
      <p:sp>
        <p:nvSpPr>
          <p:cNvPr id="2" name="CaixaDeTexto 1"/>
          <p:cNvSpPr txBox="1"/>
          <p:nvPr/>
        </p:nvSpPr>
        <p:spPr bwMode="gray">
          <a:xfrm>
            <a:off x="406193" y="1916412"/>
            <a:ext cx="5238275" cy="268880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r>
              <a:rPr lang="pt-BR" sz="2000" b="1" dirty="0"/>
              <a:t>Back-</a:t>
            </a:r>
            <a:r>
              <a:rPr lang="pt-BR" sz="2000" b="1" dirty="0" err="1"/>
              <a:t>end</a:t>
            </a:r>
            <a:r>
              <a:rPr lang="pt-BR" sz="2000" b="1" dirty="0"/>
              <a:t> de sistemas </a:t>
            </a:r>
            <a:r>
              <a:rPr lang="pt-BR" sz="2000" b="1" dirty="0" err="1"/>
              <a:t>CRMs</a:t>
            </a:r>
            <a:r>
              <a:rPr lang="pt-BR" sz="2000" b="1" dirty="0"/>
              <a:t> e </a:t>
            </a:r>
            <a:r>
              <a:rPr lang="pt-BR" sz="2000" b="1" dirty="0" err="1"/>
              <a:t>ERPs</a:t>
            </a:r>
            <a:r>
              <a:rPr lang="pt-BR" sz="2000" b="1" dirty="0"/>
              <a:t>;</a:t>
            </a:r>
          </a:p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r>
              <a:rPr lang="pt-BR" sz="2000" b="1" dirty="0"/>
              <a:t>Processamento pesado de efeitos especiais de filmes;</a:t>
            </a:r>
          </a:p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r>
              <a:rPr lang="pt-BR" sz="2000" b="1" dirty="0"/>
              <a:t>Soluções de análise de dados (Data </a:t>
            </a:r>
            <a:r>
              <a:rPr lang="pt-BR" sz="2000" b="1" dirty="0" err="1"/>
              <a:t>Analytics</a:t>
            </a:r>
            <a:r>
              <a:rPr lang="pt-BR" sz="2000" b="1" dirty="0"/>
              <a:t>);</a:t>
            </a:r>
          </a:p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r>
              <a:rPr lang="pt-BR" sz="2000" b="1" dirty="0"/>
              <a:t>Aprendizado de máquina (</a:t>
            </a:r>
            <a:r>
              <a:rPr lang="pt-BR" sz="2000" b="1" dirty="0" err="1"/>
              <a:t>Machine</a:t>
            </a:r>
            <a:r>
              <a:rPr lang="pt-BR" sz="2000" b="1" dirty="0"/>
              <a:t> Learning – ML);</a:t>
            </a:r>
          </a:p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r>
              <a:rPr lang="pt-BR" sz="2000" b="1" dirty="0"/>
              <a:t>Aplicações Desktop;</a:t>
            </a:r>
          </a:p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r>
              <a:rPr lang="pt-BR" sz="2000" b="1" dirty="0"/>
              <a:t>Aplicações Web;</a:t>
            </a:r>
          </a:p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endParaRPr lang="pt-BR" sz="2000" dirty="0"/>
          </a:p>
        </p:txBody>
      </p:sp>
      <p:sp>
        <p:nvSpPr>
          <p:cNvPr id="7" name="CaixaDeTexto 6"/>
          <p:cNvSpPr txBox="1"/>
          <p:nvPr/>
        </p:nvSpPr>
        <p:spPr bwMode="gray">
          <a:xfrm>
            <a:off x="6538152" y="1911557"/>
            <a:ext cx="3616356" cy="268880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r>
              <a:rPr lang="pt-BR" sz="2000" b="1" dirty="0"/>
              <a:t>Big Data;</a:t>
            </a:r>
          </a:p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r>
              <a:rPr lang="pt-BR" sz="2000" b="1" dirty="0"/>
              <a:t>IOT;</a:t>
            </a:r>
          </a:p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r>
              <a:rPr lang="pt-BR" sz="2000" b="1" dirty="0"/>
              <a:t>Pesadas simulações de engenharia;</a:t>
            </a:r>
          </a:p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000" b="1" dirty="0" err="1"/>
              <a:t>Sistemas</a:t>
            </a:r>
            <a:r>
              <a:rPr lang="en-US" sz="2000" b="1" dirty="0"/>
              <a:t> </a:t>
            </a:r>
            <a:r>
              <a:rPr lang="en-US" sz="2000" b="1" dirty="0" err="1"/>
              <a:t>Operacionais</a:t>
            </a:r>
            <a:r>
              <a:rPr lang="en-US" sz="2000" b="1" dirty="0"/>
              <a:t>;</a:t>
            </a:r>
          </a:p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000" b="1" dirty="0" err="1"/>
              <a:t>Prototipagem</a:t>
            </a:r>
            <a:r>
              <a:rPr lang="en-US" sz="2000" b="1" dirty="0"/>
              <a:t>;</a:t>
            </a:r>
          </a:p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2000" b="1" dirty="0"/>
              <a:t>Firmware;</a:t>
            </a:r>
          </a:p>
          <a:p>
            <a:pPr marL="216000" lvl="2" indent="-216000" defTabSz="576226" fontAlgn="base">
              <a:spcBef>
                <a:spcPts val="600"/>
              </a:spcBef>
              <a:spcAft>
                <a:spcPct val="0"/>
              </a:spcAft>
              <a:buClr>
                <a:srgbClr val="D80074"/>
              </a:buClr>
              <a:buSzPct val="70000"/>
              <a:buFont typeface="Wingdings 2" panose="05020102010507070707" pitchFamily="18" charset="2"/>
              <a:buChar char="¡"/>
            </a:pPr>
            <a:endParaRPr lang="pt-BR" sz="2000" dirty="0"/>
          </a:p>
        </p:txBody>
      </p:sp>
    </p:spTree>
    <p:extLst>
      <p:ext uri="{BB962C8B-B14F-4D97-AF65-F5344CB8AC3E}">
        <p14:creationId xmlns:p14="http://schemas.microsoft.com/office/powerpoint/2010/main" val="1980599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90592" name="Objeto 139059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1390592" name="Objeto 139059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Título 3"/>
          <p:cNvSpPr>
            <a:spLocks noGrp="1"/>
          </p:cNvSpPr>
          <p:nvPr>
            <p:ph type="title"/>
          </p:nvPr>
        </p:nvSpPr>
        <p:spPr>
          <a:xfrm>
            <a:off x="324000" y="252000"/>
            <a:ext cx="10872000" cy="504000"/>
          </a:xfrm>
        </p:spPr>
        <p:txBody>
          <a:bodyPr/>
          <a:lstStyle/>
          <a:p>
            <a:r>
              <a:rPr lang="pt-BR" dirty="0"/>
              <a:t>Cases de sucesso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924674"/>
            <a:ext cx="1891577" cy="1113265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5523" y="1202636"/>
            <a:ext cx="1931790" cy="820816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7260" y="756000"/>
            <a:ext cx="1618840" cy="1214130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4448" y="1152194"/>
            <a:ext cx="2743200" cy="994180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4036" y="638296"/>
            <a:ext cx="1680801" cy="1680801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398" y="2595657"/>
            <a:ext cx="3246634" cy="427189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9055" y="2182313"/>
            <a:ext cx="1476409" cy="1226496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1930" y="3143660"/>
            <a:ext cx="1274363" cy="1274363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6114" y="1912037"/>
            <a:ext cx="2611680" cy="1290862"/>
          </a:xfrm>
          <a:prstGeom prst="rect">
            <a:avLst/>
          </a:prstGeom>
        </p:spPr>
      </p:pic>
      <p:pic>
        <p:nvPicPr>
          <p:cNvPr id="13" name="Imagem 12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212" y="4611220"/>
            <a:ext cx="2866490" cy="957584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2132" y="3547661"/>
            <a:ext cx="1906080" cy="730029"/>
          </a:xfrm>
          <a:prstGeom prst="rect">
            <a:avLst/>
          </a:prstGeom>
        </p:spPr>
      </p:pic>
      <p:pic>
        <p:nvPicPr>
          <p:cNvPr id="15" name="Imagem 14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777" y="3022846"/>
            <a:ext cx="2174022" cy="1352787"/>
          </a:xfrm>
          <a:prstGeom prst="rect">
            <a:avLst/>
          </a:prstGeom>
        </p:spPr>
      </p:pic>
      <p:pic>
        <p:nvPicPr>
          <p:cNvPr id="16" name="Imagem 15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912" y="4319037"/>
            <a:ext cx="1155467" cy="1155467"/>
          </a:xfrm>
          <a:prstGeom prst="rect">
            <a:avLst/>
          </a:prstGeom>
        </p:spPr>
      </p:pic>
      <p:pic>
        <p:nvPicPr>
          <p:cNvPr id="17" name="Imagem 16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3561" y="4431085"/>
            <a:ext cx="1081749" cy="1081749"/>
          </a:xfrm>
          <a:prstGeom prst="rect">
            <a:avLst/>
          </a:prstGeom>
        </p:spPr>
      </p:pic>
      <p:pic>
        <p:nvPicPr>
          <p:cNvPr id="18" name="Imagem 17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118" y="4391706"/>
            <a:ext cx="1292074" cy="1292074"/>
          </a:xfrm>
          <a:prstGeom prst="rect">
            <a:avLst/>
          </a:prstGeom>
        </p:spPr>
      </p:pic>
      <p:pic>
        <p:nvPicPr>
          <p:cNvPr id="19" name="Imagem 18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5569" y="3521205"/>
            <a:ext cx="2121394" cy="637479"/>
          </a:xfrm>
          <a:prstGeom prst="rect">
            <a:avLst/>
          </a:prstGeom>
        </p:spPr>
      </p:pic>
      <p:pic>
        <p:nvPicPr>
          <p:cNvPr id="20" name="Imagem 19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8543" y="4469417"/>
            <a:ext cx="1786821" cy="1005087"/>
          </a:xfrm>
          <a:prstGeom prst="rect">
            <a:avLst/>
          </a:prstGeom>
        </p:spPr>
      </p:pic>
      <p:pic>
        <p:nvPicPr>
          <p:cNvPr id="21" name="Imagem 20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6293" y="2347001"/>
            <a:ext cx="2236864" cy="637506"/>
          </a:xfrm>
          <a:prstGeom prst="rect">
            <a:avLst/>
          </a:prstGeom>
        </p:spPr>
      </p:pic>
      <p:pic>
        <p:nvPicPr>
          <p:cNvPr id="22" name="Imagem 21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2819" y="3402643"/>
            <a:ext cx="2063966" cy="656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208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4043094" y="2747287"/>
            <a:ext cx="3436493" cy="715106"/>
          </a:xfrm>
        </p:spPr>
        <p:txBody>
          <a:bodyPr/>
          <a:lstStyle/>
          <a:p>
            <a:r>
              <a:rPr lang="pt-BR" dirty="0"/>
              <a:t>Obrigado!</a:t>
            </a: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9761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2&quot;&gt;&lt;elem m_fUsage=&quot;1.00000000000000000000E+000&quot;&gt;&lt;m_msothmcolidx val=&quot;0&quot;/&gt;&lt;m_rgb r=&quot;dd&quot; g=&quot;de&quot; b=&quot;ac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b1&quot; g=&quot;dc&quot; b=&quot;f1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 16:9 2015 EN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zu9_Chartpool_20150608.pptx" id="{B1452720-7520-4D9E-B9ED-20AEF7CACA91}" vid="{0A44F166-3C81-41C7-882D-66DB7ABEEA43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46</Words>
  <Application>Microsoft Office PowerPoint</Application>
  <PresentationFormat>Personalizar</PresentationFormat>
  <Paragraphs>59</Paragraphs>
  <Slides>9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9</vt:i4>
      </vt:variant>
    </vt:vector>
  </HeadingPairs>
  <TitlesOfParts>
    <vt:vector size="19" baseType="lpstr">
      <vt:lpstr>Arial</vt:lpstr>
      <vt:lpstr>TeleGrotesk Headline</vt:lpstr>
      <vt:lpstr>TeleGrotesk Headline Ultra</vt:lpstr>
      <vt:lpstr>Tele-GroteskFet</vt:lpstr>
      <vt:lpstr>Tele-GroteskNor</vt:lpstr>
      <vt:lpstr>Tele-GroteskUlt</vt:lpstr>
      <vt:lpstr>Wingdings</vt:lpstr>
      <vt:lpstr>Wingdings 2</vt:lpstr>
      <vt:lpstr>Telekom 16:9 2015 EN</vt:lpstr>
      <vt:lpstr>Slide do think-cell</vt:lpstr>
      <vt:lpstr>Apresentação do PowerPoint</vt:lpstr>
      <vt:lpstr>introdução</vt:lpstr>
      <vt:lpstr>Por que utilizar python?</vt:lpstr>
      <vt:lpstr>Por que utilizar python?</vt:lpstr>
      <vt:lpstr>Por que utilizar python?</vt:lpstr>
      <vt:lpstr>Crescimento do uso</vt:lpstr>
      <vt:lpstr>aplicações</vt:lpstr>
      <vt:lpstr>Cases de sucesso</vt:lpstr>
      <vt:lpstr>Obrigado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LEKOM POWERPOINT CHARTPOOL 16:9 EN</dc:title>
  <dc:creator/>
  <cp:lastModifiedBy/>
  <cp:revision>541</cp:revision>
  <dcterms:created xsi:type="dcterms:W3CDTF">2015-03-23T08:44:00Z</dcterms:created>
  <dcterms:modified xsi:type="dcterms:W3CDTF">2022-09-07T23:47:36Z</dcterms:modified>
</cp:coreProperties>
</file>